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</p:sldMasterIdLst>
  <p:notesMasterIdLst>
    <p:notesMasterId r:id="rId18"/>
  </p:notesMasterIdLst>
  <p:handoutMasterIdLst>
    <p:handoutMasterId r:id="rId19"/>
  </p:handoutMasterIdLst>
  <p:sldIdLst>
    <p:sldId id="267" r:id="rId8"/>
    <p:sldId id="271" r:id="rId9"/>
    <p:sldId id="272" r:id="rId10"/>
    <p:sldId id="274" r:id="rId11"/>
    <p:sldId id="275" r:id="rId12"/>
    <p:sldId id="276" r:id="rId13"/>
    <p:sldId id="277" r:id="rId14"/>
    <p:sldId id="278" r:id="rId15"/>
    <p:sldId id="279" r:id="rId16"/>
    <p:sldId id="280" r:id="rId17"/>
  </p:sldIdLst>
  <p:sldSz cx="12192000" cy="6858000"/>
  <p:notesSz cx="6669088" cy="9926638"/>
  <p:custDataLst>
    <p:tags r:id="rId20"/>
  </p:custDataLst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CE2"/>
    <a:srgbClr val="00AE6D"/>
    <a:srgbClr val="E40613"/>
    <a:srgbClr val="9AD5B7"/>
    <a:srgbClr val="8FB0D0"/>
    <a:srgbClr val="00E86D"/>
    <a:srgbClr val="E20613"/>
    <a:srgbClr val="CC0000"/>
    <a:srgbClr val="00EA6A"/>
    <a:srgbClr val="00F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96327" autoAdjust="0"/>
  </p:normalViewPr>
  <p:slideViewPr>
    <p:cSldViewPr snapToGrid="0" showGuides="1">
      <p:cViewPr varScale="1">
        <p:scale>
          <a:sx n="175" d="100"/>
          <a:sy n="175" d="100"/>
        </p:scale>
        <p:origin x="160" y="272"/>
      </p:cViewPr>
      <p:guideLst>
        <p:guide orient="horz" pos="2273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3762" y="90"/>
      </p:cViewPr>
      <p:guideLst>
        <p:guide orient="horz" pos="3125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t" anchorCtr="0" compatLnSpc="1">
            <a:prstTxWarp prst="textNoShape">
              <a:avLst/>
            </a:prstTxWarp>
          </a:bodyPr>
          <a:lstStyle>
            <a:lvl1pPr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t" anchorCtr="0" compatLnSpc="1">
            <a:prstTxWarp prst="textNoShape">
              <a:avLst/>
            </a:prstTxWarp>
          </a:bodyPr>
          <a:lstStyle>
            <a:lvl1pPr algn="r"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b" anchorCtr="0" compatLnSpc="1">
            <a:prstTxWarp prst="textNoShape">
              <a:avLst/>
            </a:prstTxWarp>
          </a:bodyPr>
          <a:lstStyle>
            <a:lvl1pPr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75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b" anchorCtr="0" compatLnSpc="1">
            <a:prstTxWarp prst="textNoShape">
              <a:avLst/>
            </a:prstTxWarp>
          </a:bodyPr>
          <a:lstStyle>
            <a:lvl1pPr algn="r" defTabSz="918949" eaLnBrk="1" hangingPunct="1">
              <a:spcBef>
                <a:spcPct val="0"/>
              </a:spcBef>
              <a:defRPr/>
            </a:lvl1pPr>
          </a:lstStyle>
          <a:p>
            <a:pPr>
              <a:defRPr/>
            </a:pPr>
            <a:fld id="{ADFF3A69-C35A-408A-BDFC-5D3C1A62501C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399159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1" name="Rectangle 5"/>
          <p:cNvSpPr>
            <a:spLocks noGrp="1" noChangeAspect="1" noChangeArrowheads="1"/>
          </p:cNvSpPr>
          <p:nvPr>
            <p:ph type="body" sz="quarter" idx="3"/>
          </p:nvPr>
        </p:nvSpPr>
        <p:spPr bwMode="auto">
          <a:xfrm>
            <a:off x="704850" y="106363"/>
            <a:ext cx="5738813" cy="968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Klicken Sie, um die Formate des Vorlagentextes zu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9155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63538" y="7912100"/>
            <a:ext cx="3338512" cy="1878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</p:spTree>
    <p:extLst>
      <p:ext uri="{BB962C8B-B14F-4D97-AF65-F5344CB8AC3E}">
        <p14:creationId xmlns:p14="http://schemas.microsoft.com/office/powerpoint/2010/main" val="34061215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1771"/>
            <a:ext cx="12192000" cy="596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0" y="5315416"/>
            <a:ext cx="12191999" cy="13490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 dirty="0"/>
          </a:p>
        </p:txBody>
      </p:sp>
      <p:sp>
        <p:nvSpPr>
          <p:cNvPr id="24" name="Rectangle"/>
          <p:cNvSpPr>
            <a:spLocks noGrp="1" noChangeArrowheads="1"/>
          </p:cNvSpPr>
          <p:nvPr>
            <p:ph type="ctrTitle"/>
          </p:nvPr>
        </p:nvSpPr>
        <p:spPr>
          <a:xfrm>
            <a:off x="584632" y="5675885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4474" y="6173611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30" name="Gerade Verbindung 25">
            <a:extLst>
              <a:ext uri="{FF2B5EF4-FFF2-40B4-BE49-F238E27FC236}">
                <a16:creationId xmlns:a16="http://schemas.microsoft.com/office/drawing/2014/main" id="{97EDF13B-217F-2D4E-8474-D58420E9416D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5315416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A86729A2-6DA9-B441-AF88-CB5B4C8FDAEF}"/>
              </a:ext>
            </a:extLst>
          </p:cNvPr>
          <p:cNvSpPr/>
          <p:nvPr userDrawn="1"/>
        </p:nvSpPr>
        <p:spPr bwMode="auto">
          <a:xfrm>
            <a:off x="8744505" y="541538"/>
            <a:ext cx="3453415" cy="736846"/>
          </a:xfrm>
          <a:prstGeom prst="rect">
            <a:avLst/>
          </a:prstGeom>
          <a:solidFill>
            <a:schemeClr val="bg1">
              <a:alpha val="8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2" name="Grafik 31" descr="Ein Bild, das Uhr, Zeichnung enthält.&#10;&#10;Automatisch generierte Beschreibung">
            <a:extLst>
              <a:ext uri="{FF2B5EF4-FFF2-40B4-BE49-F238E27FC236}">
                <a16:creationId xmlns:a16="http://schemas.microsoft.com/office/drawing/2014/main" id="{0B81D3FA-0F3F-B846-BD3D-9FF1BF7F7C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8619" y="699203"/>
            <a:ext cx="2791791" cy="42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978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, draußen, Straße, fahrend enthält.&#10;&#10;Automatisch generierte Beschreibung">
            <a:extLst>
              <a:ext uri="{FF2B5EF4-FFF2-40B4-BE49-F238E27FC236}">
                <a16:creationId xmlns:a16="http://schemas.microsoft.com/office/drawing/2014/main" id="{62B4B1C3-D15F-1D4E-BDCD-715D4092DF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70" y="1"/>
            <a:ext cx="12198739" cy="6858000"/>
          </a:xfrm>
          <a:prstGeom prst="rect">
            <a:avLst/>
          </a:prstGeom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8" name="Gerade Verbindung 25">
            <a:extLst>
              <a:ext uri="{FF2B5EF4-FFF2-40B4-BE49-F238E27FC236}">
                <a16:creationId xmlns:a16="http://schemas.microsoft.com/office/drawing/2014/main" id="{A2104007-AAD1-1844-8BE0-31783F4E2BC4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1651508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05602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8" name="Gerade Verbindung 25">
            <a:extLst>
              <a:ext uri="{FF2B5EF4-FFF2-40B4-BE49-F238E27FC236}">
                <a16:creationId xmlns:a16="http://schemas.microsoft.com/office/drawing/2014/main" id="{A2104007-AAD1-1844-8BE0-31783F4E2BC4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1651508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4">
            <a:extLst>
              <a:ext uri="{FF2B5EF4-FFF2-40B4-BE49-F238E27FC236}">
                <a16:creationId xmlns:a16="http://schemas.microsoft.com/office/drawing/2014/main" id="{B20EAF57-AE3C-C348-B0BC-BB2644B40F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165" y="1683776"/>
            <a:ext cx="1221105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1683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4">
            <a:extLst>
              <a:ext uri="{FF2B5EF4-FFF2-40B4-BE49-F238E27FC236}">
                <a16:creationId xmlns:a16="http://schemas.microsoft.com/office/drawing/2014/main" id="{40E3BAB1-6357-3C42-908A-4519FED69D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591" y="1436687"/>
            <a:ext cx="12195175" cy="542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8" name="Gerade Verbindung 25">
            <a:extLst>
              <a:ext uri="{FF2B5EF4-FFF2-40B4-BE49-F238E27FC236}">
                <a16:creationId xmlns:a16="http://schemas.microsoft.com/office/drawing/2014/main" id="{A2104007-AAD1-1844-8BE0-31783F4E2BC4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1651508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6300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Ein Bild, das draußen, Wasser, Mann, Strand enthält.&#10;&#10;Automatisch generierte Beschreibung">
            <a:extLst>
              <a:ext uri="{FF2B5EF4-FFF2-40B4-BE49-F238E27FC236}">
                <a16:creationId xmlns:a16="http://schemas.microsoft.com/office/drawing/2014/main" id="{88B71D3B-0C4A-E44D-B1FC-9E84B0AFC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212" y="0"/>
            <a:ext cx="12238422" cy="5405047"/>
          </a:xfrm>
          <a:prstGeom prst="rect">
            <a:avLst/>
          </a:prstGeom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0" y="5315416"/>
            <a:ext cx="12191999" cy="13490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 dirty="0"/>
          </a:p>
        </p:txBody>
      </p:sp>
      <p:sp>
        <p:nvSpPr>
          <p:cNvPr id="24" name="Rectangle"/>
          <p:cNvSpPr>
            <a:spLocks noGrp="1" noChangeArrowheads="1"/>
          </p:cNvSpPr>
          <p:nvPr>
            <p:ph type="ctrTitle"/>
          </p:nvPr>
        </p:nvSpPr>
        <p:spPr>
          <a:xfrm>
            <a:off x="584632" y="5675885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4287" y="6173611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30" name="Gerade Verbindung 25">
            <a:extLst>
              <a:ext uri="{FF2B5EF4-FFF2-40B4-BE49-F238E27FC236}">
                <a16:creationId xmlns:a16="http://schemas.microsoft.com/office/drawing/2014/main" id="{97EDF13B-217F-2D4E-8474-D58420E9416D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5315416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 descr="Ein Bild, das Ende, Schild, draußen, rot enthält.&#10;&#10;Automatisch generierte Beschreibung">
            <a:extLst>
              <a:ext uri="{FF2B5EF4-FFF2-40B4-BE49-F238E27FC236}">
                <a16:creationId xmlns:a16="http://schemas.microsoft.com/office/drawing/2014/main" id="{7E7986CF-1EFE-8545-A11A-A02CFB6F50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1671" y="3590262"/>
            <a:ext cx="2920328" cy="292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245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8FD0B8-B0DA-E344-970A-1B048881B0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4484" y="1615109"/>
            <a:ext cx="11049284" cy="4364038"/>
          </a:xfrm>
        </p:spPr>
        <p:txBody>
          <a:bodyPr/>
          <a:lstStyle>
            <a:lvl1pPr marL="7938" marR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73192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53197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/>
              <a:t>Fliesstext</a:t>
            </a:r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725281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8FD0B8-B0DA-E344-970A-1B048881B0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4484" y="1615109"/>
            <a:ext cx="11049284" cy="4364038"/>
          </a:xfrm>
        </p:spPr>
        <p:txBody>
          <a:bodyPr/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73192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53197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896130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6FCFA1A-76DB-C94E-B214-03E37C78B1A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49293" y="1609236"/>
            <a:ext cx="5322746" cy="4364038"/>
          </a:xfrm>
        </p:spPr>
        <p:txBody>
          <a:bodyPr/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73192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53197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E363235-0621-E14B-8EFD-C994A05488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4484" y="1615109"/>
            <a:ext cx="5322746" cy="4364038"/>
          </a:xfrm>
        </p:spPr>
        <p:txBody>
          <a:bodyPr/>
          <a:lstStyle>
            <a:lvl1pPr marL="7938" marR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73192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53197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marL="7938" marR="0" lvl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altLang="de-DE" dirty="0"/>
              <a:t>Fliesstext</a:t>
            </a:r>
          </a:p>
          <a:p>
            <a:pPr marL="7938" marR="0" lvl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4D72DF9D-34A3-3248-B6BE-A83BAF726E9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33AEFA1-503F-0A47-9942-5624ED859FC5}"/>
              </a:ext>
            </a:extLst>
          </p:cNvPr>
          <p:cNvSpPr>
            <a:spLocks noGrp="1" noChangeArrowheads="1"/>
          </p:cNvSpPr>
          <p:nvPr>
            <p:ph type="subTitle" idx="12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059741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0" y="5219700"/>
            <a:ext cx="12192000" cy="1638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A178809-B80F-D241-A387-D1354B21D60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667B82AE-30C6-8D46-A68E-CDAAD7F7BE5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6882950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16">
            <a:extLst>
              <a:ext uri="{FF2B5EF4-FFF2-40B4-BE49-F238E27FC236}">
                <a16:creationId xmlns:a16="http://schemas.microsoft.com/office/drawing/2014/main" id="{1AFAED6F-55FA-234B-AF1A-12ADE83984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" y="1473151"/>
            <a:ext cx="12192000" cy="538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8" name="Gerade Verbindung 25">
            <a:extLst>
              <a:ext uri="{FF2B5EF4-FFF2-40B4-BE49-F238E27FC236}">
                <a16:creationId xmlns:a16="http://schemas.microsoft.com/office/drawing/2014/main" id="{A2104007-AAD1-1844-8BE0-31783F4E2BC4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1651508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237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ebäude, Person, draußen, stehend enthält.&#10;&#10;Automatisch generierte Beschreibung">
            <a:extLst>
              <a:ext uri="{FF2B5EF4-FFF2-40B4-BE49-F238E27FC236}">
                <a16:creationId xmlns:a16="http://schemas.microsoft.com/office/drawing/2014/main" id="{691D69DA-7987-DE4A-B48D-0D9EE2B64A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55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665" y="843095"/>
            <a:ext cx="12198740" cy="6014905"/>
          </a:xfrm>
          <a:prstGeom prst="rect">
            <a:avLst/>
          </a:prstGeom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8" name="Gerade Verbindung 25">
            <a:extLst>
              <a:ext uri="{FF2B5EF4-FFF2-40B4-BE49-F238E27FC236}">
                <a16:creationId xmlns:a16="http://schemas.microsoft.com/office/drawing/2014/main" id="{A2104007-AAD1-1844-8BE0-31783F4E2BC4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1651508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1689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, draußen, haltend, Frau enthält.&#10;&#10;Automatisch generierte Beschreibung">
            <a:extLst>
              <a:ext uri="{FF2B5EF4-FFF2-40B4-BE49-F238E27FC236}">
                <a16:creationId xmlns:a16="http://schemas.microsoft.com/office/drawing/2014/main" id="{88B48F89-2586-E44F-84F7-3401EA1290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0" y="212555"/>
            <a:ext cx="12191999" cy="6645446"/>
          </a:xfrm>
          <a:prstGeom prst="rect">
            <a:avLst/>
          </a:prstGeom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287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8" name="Gerade Verbindung 25">
            <a:extLst>
              <a:ext uri="{FF2B5EF4-FFF2-40B4-BE49-F238E27FC236}">
                <a16:creationId xmlns:a16="http://schemas.microsoft.com/office/drawing/2014/main" id="{A2104007-AAD1-1844-8BE0-31783F4E2BC4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1651508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236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7850" y="458561"/>
            <a:ext cx="11028363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Mastertitelformat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7850" y="1615108"/>
            <a:ext cx="11056938" cy="436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Mastertextformat bearbeiten</a:t>
            </a:r>
          </a:p>
          <a:p>
            <a:pPr lvl="0"/>
            <a:endParaRPr lang="de-CH" altLang="de-DE" dirty="0"/>
          </a:p>
        </p:txBody>
      </p:sp>
      <p:grpSp>
        <p:nvGrpSpPr>
          <p:cNvPr id="1029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1032" name="Line 25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3" name="Line 26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4" name="Line 20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5" name="Line 23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6" name="Line 27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7" name="Line 28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8" name="Line 38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9" name="Rectangle 2"/>
          <p:cNvSpPr>
            <a:spLocks noChangeArrowheads="1"/>
          </p:cNvSpPr>
          <p:nvPr userDrawn="1"/>
        </p:nvSpPr>
        <p:spPr bwMode="auto">
          <a:xfrm>
            <a:off x="5973626" y="6349739"/>
            <a:ext cx="339725" cy="296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30000"/>
              </a:spcBef>
              <a:defRPr/>
            </a:pPr>
            <a:fld id="{427F29B5-77C0-4C6E-A646-C78C038AB6E7}" type="slidenum">
              <a:rPr lang="de-CH" altLang="de-DE" sz="1200" b="1" smtClean="0">
                <a:latin typeface="+mj-lt"/>
              </a:rPr>
              <a:pPr algn="ctr" eaLnBrk="1" hangingPunct="1">
                <a:spcBef>
                  <a:spcPct val="30000"/>
                </a:spcBef>
                <a:defRPr/>
              </a:pPr>
              <a:t>‹Nr.›</a:t>
            </a:fld>
            <a:endParaRPr lang="de-CH" altLang="de-DE" sz="1200" b="1" dirty="0">
              <a:latin typeface="+mj-lt"/>
            </a:endParaRPr>
          </a:p>
        </p:txBody>
      </p:sp>
      <p:cxnSp>
        <p:nvCxnSpPr>
          <p:cNvPr id="24" name="Gerade Verbindung 25">
            <a:extLst>
              <a:ext uri="{FF2B5EF4-FFF2-40B4-BE49-F238E27FC236}">
                <a16:creationId xmlns:a16="http://schemas.microsoft.com/office/drawing/2014/main" id="{5C2CEFE7-5170-9242-9857-21FF2413802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584634" y="6244349"/>
            <a:ext cx="11050154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uppieren 16">
            <a:extLst>
              <a:ext uri="{FF2B5EF4-FFF2-40B4-BE49-F238E27FC236}">
                <a16:creationId xmlns:a16="http://schemas.microsoft.com/office/drawing/2014/main" id="{BB268F41-E856-6E40-A808-2D35E784FDA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077558" y="6416777"/>
            <a:ext cx="259006" cy="205476"/>
            <a:chOff x="8913502" y="6565505"/>
            <a:chExt cx="259075" cy="206375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B000D9C7-1B5A-464C-9C23-29DA8BB731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13502" y="6565505"/>
              <a:ext cx="207962" cy="206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1" name="Gerader Verbinder 20">
              <a:extLst>
                <a:ext uri="{FF2B5EF4-FFF2-40B4-BE49-F238E27FC236}">
                  <a16:creationId xmlns:a16="http://schemas.microsoft.com/office/drawing/2014/main" id="{8CB5C6D8-5C6F-E94B-AB93-43EDD6D17E3B}"/>
                </a:ext>
              </a:extLst>
            </p:cNvPr>
            <p:cNvCxnSpPr>
              <a:cxnSpLocks noChangeShapeType="1"/>
            </p:cNvCxnSpPr>
            <p:nvPr userDrawn="1"/>
          </p:nvCxnSpPr>
          <p:spPr bwMode="auto">
            <a:xfrm>
              <a:off x="9172577" y="6565505"/>
              <a:ext cx="0" cy="206375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AB548915-FF90-1F42-AF7E-735130676E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81310" y="6386110"/>
            <a:ext cx="275780" cy="26045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273" r:id="rId1"/>
    <p:sldLayoutId id="2147489318" r:id="rId2"/>
    <p:sldLayoutId id="2147489261" r:id="rId3"/>
    <p:sldLayoutId id="2147489328" r:id="rId4"/>
    <p:sldLayoutId id="2147489262" r:id="rId5"/>
    <p:sldLayoutId id="2147489269" r:id="rId6"/>
    <p:sldLayoutId id="2147489317" r:id="rId7"/>
    <p:sldLayoutId id="2147489319" r:id="rId8"/>
    <p:sldLayoutId id="2147489321" r:id="rId9"/>
    <p:sldLayoutId id="2147489322" r:id="rId10"/>
    <p:sldLayoutId id="2147489323" r:id="rId11"/>
    <p:sldLayoutId id="2147489327" r:id="rId12"/>
  </p:sldLayoutIdLst>
  <p:hf hdr="0" ftr="0" dt="0"/>
  <p:txStyles>
    <p:titleStyle>
      <a:lvl1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2pPr>
      <a:lvl3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3pPr>
      <a:lvl4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4pPr>
      <a:lvl5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5pPr>
      <a:lvl6pPr marL="457212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23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34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46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0" indent="0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None/>
        <a:defRPr>
          <a:solidFill>
            <a:schemeClr val="tx1"/>
          </a:solidFill>
          <a:latin typeface="+mj-lt"/>
          <a:ea typeface="+mn-ea"/>
          <a:cs typeface="+mn-cs"/>
        </a:defRPr>
      </a:lvl1pPr>
      <a:lvl2pPr marL="630237" indent="-285750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+mj-lt"/>
        </a:defRPr>
      </a:lvl2pPr>
      <a:lvl3pPr marL="1058862" indent="-342900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+mj-lt"/>
        </a:defRPr>
      </a:lvl3pPr>
      <a:lvl4pPr marL="1360487" indent="-285750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+mj-lt"/>
        </a:defRPr>
      </a:lvl4pPr>
      <a:lvl5pPr marL="1728787" indent="-285750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+mj-lt"/>
        </a:defRPr>
      </a:lvl5pPr>
      <a:lvl6pPr marL="2254306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6pPr>
      <a:lvl7pPr marL="2711518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7pPr>
      <a:lvl8pPr marL="3168729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8pPr>
      <a:lvl9pPr marL="3625941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A05D24-9D82-E047-981F-F9F45AC69F4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TIL Change Prozes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D36B48F-DF13-3046-A452-81D9A56944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Modul 150 </a:t>
            </a:r>
          </a:p>
        </p:txBody>
      </p:sp>
    </p:spTree>
    <p:extLst>
      <p:ext uri="{BB962C8B-B14F-4D97-AF65-F5344CB8AC3E}">
        <p14:creationId xmlns:p14="http://schemas.microsoft.com/office/powerpoint/2010/main" val="38039742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3C1FA-5B9E-B043-A515-F3F4EE4D47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375" y="590272"/>
            <a:ext cx="10322853" cy="409798"/>
          </a:xfrm>
        </p:spPr>
        <p:txBody>
          <a:bodyPr/>
          <a:lstStyle/>
          <a:p>
            <a:r>
              <a:rPr lang="de-DE" dirty="0"/>
              <a:t>Vielen Dank für eu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743756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0908FE1-644E-A644-88C9-0751DE3766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Change Prozess</a:t>
            </a:r>
          </a:p>
          <a:p>
            <a:pPr marL="915995" lvl="1"/>
            <a:r>
              <a:rPr lang="de-DE" dirty="0"/>
              <a:t>Phasen</a:t>
            </a:r>
          </a:p>
          <a:p>
            <a:pPr marL="915995" lvl="1"/>
            <a:r>
              <a:rPr lang="de-DE" dirty="0"/>
              <a:t>Mindmap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Major </a:t>
            </a:r>
            <a:r>
              <a:rPr lang="de-DE" dirty="0" err="1"/>
              <a:t>Incident</a:t>
            </a:r>
            <a:r>
              <a:rPr lang="de-DE" dirty="0"/>
              <a:t> Prozess</a:t>
            </a:r>
          </a:p>
          <a:p>
            <a:pPr marL="915995" lvl="1"/>
            <a:r>
              <a:rPr lang="de-DE" dirty="0"/>
              <a:t>Prioritätsskala</a:t>
            </a:r>
          </a:p>
          <a:p>
            <a:pPr marL="915995" lvl="1"/>
            <a:r>
              <a:rPr lang="de-DE" dirty="0"/>
              <a:t>Idealer Prozess</a:t>
            </a:r>
          </a:p>
          <a:p>
            <a:pPr marL="915995" lvl="1"/>
            <a:r>
              <a:rPr lang="de-DE" dirty="0"/>
              <a:t>Vergleich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Change Prozess in verschiedenen Entwicklungsumfeldern</a:t>
            </a:r>
          </a:p>
          <a:p>
            <a:pPr marL="915995" lvl="1"/>
            <a:r>
              <a:rPr lang="de-DE" dirty="0"/>
              <a:t>Wasserfallmodell</a:t>
            </a:r>
          </a:p>
          <a:p>
            <a:pPr marL="915995" lvl="1"/>
            <a:r>
              <a:rPr lang="de-DE" dirty="0"/>
              <a:t>Agile Method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CAFC40-015C-B44A-8D26-0ACCDD4DAB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nhaltsverzeichnis</a:t>
            </a:r>
          </a:p>
        </p:txBody>
      </p:sp>
    </p:spTree>
    <p:extLst>
      <p:ext uri="{BB962C8B-B14F-4D97-AF65-F5344CB8AC3E}">
        <p14:creationId xmlns:p14="http://schemas.microsoft.com/office/powerpoint/2010/main" val="3515580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96C713D-6DD6-9D4B-815E-4FCABE7722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hange mit Formular beantragen</a:t>
            </a:r>
          </a:p>
          <a:p>
            <a:r>
              <a:rPr lang="de-DE" dirty="0"/>
              <a:t>Kernpunkte des Prozesses:</a:t>
            </a:r>
          </a:p>
          <a:p>
            <a:pPr lvl="1">
              <a:lnSpc>
                <a:spcPct val="150000"/>
              </a:lnSpc>
            </a:pPr>
            <a:r>
              <a:rPr lang="de-CH" sz="1400" dirty="0"/>
              <a:t>Nachvollziehbarkeit von Änderungen durch dokumentieren </a:t>
            </a:r>
          </a:p>
          <a:p>
            <a:pPr lvl="1">
              <a:lnSpc>
                <a:spcPct val="150000"/>
              </a:lnSpc>
            </a:pPr>
            <a:r>
              <a:rPr lang="de-CH" sz="1400" dirty="0"/>
              <a:t>Einheitlicher Prozess, welcher diverse Instanzen durchläuft, um eine hohe Qualität zu gewährleisten</a:t>
            </a:r>
          </a:p>
          <a:p>
            <a:pPr lvl="1">
              <a:lnSpc>
                <a:spcPct val="150000"/>
              </a:lnSpc>
            </a:pPr>
            <a:r>
              <a:rPr lang="de-CH" sz="1400" dirty="0"/>
              <a:t>Überwachung und Beurteilung des Prozesses durch eine zentrale Stelle (Change Manager)</a:t>
            </a:r>
          </a:p>
          <a:p>
            <a:pPr lvl="1">
              <a:lnSpc>
                <a:spcPct val="150000"/>
              </a:lnSpc>
            </a:pPr>
            <a:r>
              <a:rPr lang="de-CH" sz="1400" dirty="0"/>
              <a:t>Soll nach ITIL arbeiten und vollkommen Revisionskonform sein</a:t>
            </a:r>
          </a:p>
          <a:p>
            <a:pPr lvl="1">
              <a:lnSpc>
                <a:spcPct val="150000"/>
              </a:lnSpc>
            </a:pPr>
            <a:r>
              <a:rPr lang="de-CH" sz="1400" dirty="0"/>
              <a:t>Es kann auf Elemente aus der </a:t>
            </a:r>
            <a:r>
              <a:rPr lang="de-CH" sz="1400" i="1" dirty="0"/>
              <a:t>Solution </a:t>
            </a:r>
            <a:r>
              <a:rPr lang="de-CH" sz="1400" i="1" dirty="0" err="1"/>
              <a:t>Documentation</a:t>
            </a:r>
            <a:r>
              <a:rPr lang="de-CH" sz="1400" i="1" dirty="0"/>
              <a:t> </a:t>
            </a:r>
            <a:r>
              <a:rPr lang="de-CH" sz="1400" dirty="0"/>
              <a:t>und der </a:t>
            </a:r>
            <a:r>
              <a:rPr lang="de-CH" sz="1400" i="1" dirty="0"/>
              <a:t>Test Suite </a:t>
            </a:r>
            <a:r>
              <a:rPr lang="de-CH" sz="1400" dirty="0"/>
              <a:t>referenziert werden</a:t>
            </a:r>
          </a:p>
          <a:p>
            <a:pPr lvl="1">
              <a:lnSpc>
                <a:spcPct val="150000"/>
              </a:lnSpc>
            </a:pPr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6F23039-1160-E84B-A0CA-039F51BDC2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hange Prozess</a:t>
            </a:r>
          </a:p>
        </p:txBody>
      </p:sp>
    </p:spTree>
    <p:extLst>
      <p:ext uri="{BB962C8B-B14F-4D97-AF65-F5344CB8AC3E}">
        <p14:creationId xmlns:p14="http://schemas.microsoft.com/office/powerpoint/2010/main" val="2268593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96C713D-6DD6-9D4B-815E-4FCABE7722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4495" lvl="1" indent="0">
              <a:lnSpc>
                <a:spcPct val="150000"/>
              </a:lnSpc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6F23039-1160-E84B-A0CA-039F51BDC2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hasen des Change Prozesse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4542BEA-39CC-C041-8113-3CF5616EB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0965" y="1234019"/>
            <a:ext cx="5990186" cy="2670324"/>
          </a:xfrm>
          <a:prstGeom prst="rect">
            <a:avLst/>
          </a:prstGeom>
        </p:spPr>
      </p:pic>
      <p:sp>
        <p:nvSpPr>
          <p:cNvPr id="6" name="Inhaltsplatzhalter 1">
            <a:extLst>
              <a:ext uri="{FF2B5EF4-FFF2-40B4-BE49-F238E27FC236}">
                <a16:creationId xmlns:a16="http://schemas.microsoft.com/office/drawing/2014/main" id="{CF0DEFE4-AD73-BB49-8D80-022C568B4CB2}"/>
              </a:ext>
            </a:extLst>
          </p:cNvPr>
          <p:cNvSpPr txBox="1">
            <a:spLocks/>
          </p:cNvSpPr>
          <p:nvPr/>
        </p:nvSpPr>
        <p:spPr bwMode="auto">
          <a:xfrm>
            <a:off x="736884" y="3904343"/>
            <a:ext cx="11049284" cy="2227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73192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53197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DE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sz="16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254306" indent="-354022" algn="l" defTabSz="873147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6pPr>
            <a:lvl7pPr marL="2711518" indent="-354022" algn="l" defTabSz="873147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7pPr>
            <a:lvl8pPr marL="3168729" indent="-354022" algn="l" defTabSz="873147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8pPr>
            <a:lvl9pPr marL="3625941" indent="-354022" algn="l" defTabSz="873147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lnSpc>
                <a:spcPct val="150000"/>
              </a:lnSpc>
            </a:pPr>
            <a:r>
              <a:rPr lang="de-CH" sz="1400" b="1" kern="0" dirty="0"/>
              <a:t>Antragsteller: </a:t>
            </a:r>
            <a:r>
              <a:rPr lang="de-CH" sz="1400" kern="0" dirty="0"/>
              <a:t>Stellt einen Antrag für eine Änderung mit dem Formular</a:t>
            </a:r>
          </a:p>
          <a:p>
            <a:pPr lvl="1">
              <a:lnSpc>
                <a:spcPct val="150000"/>
              </a:lnSpc>
            </a:pPr>
            <a:r>
              <a:rPr lang="de-CH" sz="1400" b="1" kern="0" dirty="0"/>
              <a:t>Change Manager: </a:t>
            </a:r>
            <a:r>
              <a:rPr lang="de-CH" sz="1400" kern="0" dirty="0"/>
              <a:t>Überprüft den gestellten Antrag auf Machbarkeit. Bewilligt die Änderungen, bevor sie in Produktion kommen</a:t>
            </a:r>
          </a:p>
          <a:p>
            <a:pPr lvl="1">
              <a:lnSpc>
                <a:spcPct val="150000"/>
              </a:lnSpc>
            </a:pPr>
            <a:r>
              <a:rPr lang="de-CH" sz="1400" b="1" kern="0" dirty="0"/>
              <a:t>Entwickler: </a:t>
            </a:r>
            <a:r>
              <a:rPr lang="de-CH" sz="1400" kern="0" dirty="0"/>
              <a:t>Setzt die Änderungen um  </a:t>
            </a:r>
          </a:p>
          <a:p>
            <a:pPr lvl="1">
              <a:lnSpc>
                <a:spcPct val="150000"/>
              </a:lnSpc>
            </a:pPr>
            <a:r>
              <a:rPr lang="de-CH" sz="1400" b="1" kern="0" dirty="0"/>
              <a:t>Tester: </a:t>
            </a:r>
            <a:r>
              <a:rPr lang="de-CH" sz="1400" kern="0" dirty="0"/>
              <a:t>Führen Tests durch</a:t>
            </a:r>
          </a:p>
          <a:p>
            <a:pPr lvl="1">
              <a:lnSpc>
                <a:spcPct val="150000"/>
              </a:lnSpc>
            </a:pPr>
            <a:r>
              <a:rPr lang="de-CH" sz="1400" b="1" kern="0" dirty="0"/>
              <a:t>IT-Operator: </a:t>
            </a:r>
            <a:r>
              <a:rPr lang="de-CH" sz="1400" kern="0" dirty="0"/>
              <a:t>Schnittstelle für die verschiedenen Rollen</a:t>
            </a:r>
          </a:p>
          <a:p>
            <a:pPr lvl="1">
              <a:lnSpc>
                <a:spcPct val="150000"/>
              </a:lnSpc>
            </a:pPr>
            <a:r>
              <a:rPr lang="de-CH" sz="1400" b="1" kern="0" dirty="0"/>
              <a:t>Batch Job: </a:t>
            </a:r>
            <a:r>
              <a:rPr lang="de-CH" sz="1400" kern="0" dirty="0"/>
              <a:t>Originaltransporte werden freigegeben und nach der Bestätigung vom Change Manager in die Produktion importiert. </a:t>
            </a:r>
          </a:p>
        </p:txBody>
      </p:sp>
    </p:spTree>
    <p:extLst>
      <p:ext uri="{BB962C8B-B14F-4D97-AF65-F5344CB8AC3E}">
        <p14:creationId xmlns:p14="http://schemas.microsoft.com/office/powerpoint/2010/main" val="4183877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6F23039-1160-E84B-A0CA-039F51BDC2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indmap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3024640-C009-AF43-ACEA-73186F9BF0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281817"/>
            <a:ext cx="10515600" cy="445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5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86E8937-06D3-8E45-A46A-EDB63FFB9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5328" y="869441"/>
            <a:ext cx="6761343" cy="530294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31D71C3-BA7D-0249-9258-B2BECD34AC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ajor </a:t>
            </a:r>
            <a:r>
              <a:rPr lang="de-DE" dirty="0" err="1"/>
              <a:t>Incident</a:t>
            </a:r>
            <a:r>
              <a:rPr lang="de-DE" dirty="0"/>
              <a:t> Prozess</a:t>
            </a:r>
          </a:p>
        </p:txBody>
      </p:sp>
    </p:spTree>
    <p:extLst>
      <p:ext uri="{BB962C8B-B14F-4D97-AF65-F5344CB8AC3E}">
        <p14:creationId xmlns:p14="http://schemas.microsoft.com/office/powerpoint/2010/main" val="1507256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3F9D356-CA7F-3F46-A99B-3CC5B94872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rioritätsskala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513F5A-7020-3D40-8FED-C8D9E4777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4364" y="1204435"/>
            <a:ext cx="9583271" cy="4449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37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4574249-2B51-8548-A52A-59C71833F1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 err="1"/>
              <a:t>Incident</a:t>
            </a:r>
            <a:r>
              <a:rPr lang="de-DE" dirty="0"/>
              <a:t> Management Support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Korrekte Erfassung und Kategorisierung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Unmittelbare </a:t>
            </a:r>
            <a:r>
              <a:rPr lang="de-DE" dirty="0" err="1"/>
              <a:t>Incident</a:t>
            </a:r>
            <a:r>
              <a:rPr lang="de-DE" dirty="0"/>
              <a:t>-Behebung durch First- und Second-Level Support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Überwachung des </a:t>
            </a:r>
            <a:r>
              <a:rPr lang="de-DE" dirty="0" err="1"/>
              <a:t>Incidents</a:t>
            </a:r>
            <a:endParaRPr lang="de-DE" dirty="0"/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Abschluss und Auswertung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Anwender werden über </a:t>
            </a:r>
            <a:r>
              <a:rPr lang="de-DE" dirty="0" err="1"/>
              <a:t>Incidents</a:t>
            </a:r>
            <a:r>
              <a:rPr lang="de-DE" dirty="0"/>
              <a:t> informiert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 err="1"/>
              <a:t>Incident</a:t>
            </a:r>
            <a:r>
              <a:rPr lang="de-DE" dirty="0"/>
              <a:t> Management Reporti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C4A0947-1E15-9640-8770-FAF00FD447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dealer Prozess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F8027CC-2E3E-3C45-8940-0483CA8CC888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de-DE" dirty="0"/>
              <a:t>Laut ITIL soll der ideale </a:t>
            </a:r>
            <a:r>
              <a:rPr lang="de-DE" dirty="0" err="1"/>
              <a:t>Incident</a:t>
            </a:r>
            <a:r>
              <a:rPr lang="de-DE" dirty="0"/>
              <a:t> Management Prozess folgendes beachten:</a:t>
            </a:r>
          </a:p>
        </p:txBody>
      </p:sp>
    </p:spTree>
    <p:extLst>
      <p:ext uri="{BB962C8B-B14F-4D97-AF65-F5344CB8AC3E}">
        <p14:creationId xmlns:p14="http://schemas.microsoft.com/office/powerpoint/2010/main" val="500192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38BBF72-0786-8741-9F14-BBB6ADECB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/>
              <a:t>Beinahe alle Anforderungen sind implementiert</a:t>
            </a:r>
          </a:p>
          <a:p>
            <a:pPr marL="915995" lvl="1"/>
            <a:r>
              <a:rPr lang="de-DE" dirty="0"/>
              <a:t>Anwender werden nicht informiert</a:t>
            </a:r>
          </a:p>
          <a:p>
            <a:pPr marL="293688" indent="-285750">
              <a:buFont typeface="Arial" panose="020B0604020202020204" pitchFamily="34" charset="0"/>
              <a:buChar char="•"/>
            </a:pPr>
            <a:r>
              <a:rPr lang="de-DE" dirty="0" err="1"/>
              <a:t>Incidents</a:t>
            </a:r>
            <a:r>
              <a:rPr lang="de-DE" dirty="0"/>
              <a:t> werden dokumentiert, doch wir haben keinen Zugriff darauf</a:t>
            </a:r>
          </a:p>
          <a:p>
            <a:pPr marL="915995" lvl="1"/>
            <a:r>
              <a:rPr lang="de-DE" dirty="0"/>
              <a:t>Vollständigkeit und Ausführlichkeit kann daher nicht bewertet werd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941651D-1B4D-8A45-A1F3-FBAACA1463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ergleich</a:t>
            </a:r>
          </a:p>
        </p:txBody>
      </p:sp>
    </p:spTree>
    <p:extLst>
      <p:ext uri="{BB962C8B-B14F-4D97-AF65-F5344CB8AC3E}">
        <p14:creationId xmlns:p14="http://schemas.microsoft.com/office/powerpoint/2010/main" val="1807939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PPTTYPE" val="EECPPT"/>
  <p:tag name="VARPOTVERSION" val="EEC1.6"/>
  <p:tag name="VARPPTGRIDMODE" val="EECgrid_hide"/>
  <p:tag name="VARPPTFOOTER" val="EECTitel / Anlass, Autor"/>
  <p:tag name="VARPPTFOOTERDATE" val="EEC29.06.2010"/>
  <p:tag name="VARPPTPLACE" val="EECOrt"/>
  <p:tag name="VARPPTAUTHOR" val="EECAutor / Vortragender / Projektgruppe / Anlass"/>
  <p:tag name="VARPPTTITLE" val="EECTitel der Präsentation"/>
  <p:tag name="VARPPTPROJECT" val="EECBezug / Projekt / Gremium"/>
  <p:tag name="VARPPTSETUPPERFORMED" val="EECTRUE"/>
  <p:tag name="VARPPTLOGOSEL" val="EEC4"/>
  <p:tag name="VARPPTCOLOGOSEL" val="EEC-1"/>
  <p:tag name="VARPPTLOGOHEADERSINGLELOGOFILENAME_DE" val="EECCoop_45_cmyk.wmf"/>
  <p:tag name="VARPPTLOGOHEADERSINGLELOGOFILENAME_FR" val="EECCoop_45_cmyk.wmf"/>
  <p:tag name="VARPPTLOGOHEADERSINGLELOGOFILENAME_IT" val="EECCoop_45_cmyk.wmf"/>
  <p:tag name="VARPPTLOGOHEADERSINGLELOGOFILENAME_EN" val="EECCoop_45_cmyk.wmf"/>
  <p:tag name="VARPPTLOGOHEADERPOSRIGHT" val="EEC34"/>
  <p:tag name="VARPPTLOGOHEADERPOSTOP" val="EEC85"/>
  <p:tag name="VARPPTLOGOFOOTERPOSBOTTOM" val="EEC519"/>
  <p:tag name="VARPPTLOGOHEADERCOLOGOFILENAMERIGHT_DE" val="EEC"/>
  <p:tag name="VARPPTLOGOHEADERCOLOGOFILENAMERIGHT_FR" val="EEC"/>
  <p:tag name="VARPPTLOGOHEADERCOLOGOFILENAMERIGHT_IT" val="EEC"/>
  <p:tag name="VARPPTLOGOHEADERCOLOGOFILENAMERIGHT_EN" val="EEC"/>
  <p:tag name="VARPPTLOGOHEADERCOLOGOFILENAMELEFT_DE" val="EEC"/>
  <p:tag name="VARPPTLOGOHEADERCOLOGOFILENAMELEFT_FR" val="EEC"/>
  <p:tag name="VARPPTLOGOHEADERCOLOGOFILENAMELEFT_IT" val="EEC"/>
  <p:tag name="VARPPTLOGOHEADERCOLOGOFILENAMELEFT_EN" val="EEC"/>
  <p:tag name="VARPPTLOGOFOOTERCOLOGOFILENAMERIGHT_DE" val="EEC"/>
  <p:tag name="VARPPTLOGOFOOTERCOLOGOFILENAMERIGHT_FR" val="EEC"/>
  <p:tag name="VARPPTLOGOFOOTERCOLOGOFILENAMERIGHT_IT" val="EEC"/>
  <p:tag name="VARPPTLOGOFOOTERCOLOGOFILENAMERIGHT_EN" val="EEC"/>
  <p:tag name="VARPPTLOGOFOOTERCOLOGOFILENAMELEFT_DE" val="EEC"/>
  <p:tag name="VARPPTLOGOFOOTERCOLOGOFILENAMELEFT_FR" val="EEC"/>
  <p:tag name="VARPPTLOGOFOOTERCOLOGOFILENAMELEFT_IT" val="EEC"/>
  <p:tag name="VARPPTLOGOFOOTERCOLOGOFILENAMELEFT_EN" val="EEC"/>
  <p:tag name="VARPPTLOGOFOOTERSINGLELOGOFILENAME_DE" val="EECCoop_20_cmyk.wmf"/>
  <p:tag name="VARPPTLOGOFOOTERSINGLELOGOFILENAME_FR" val="EECCoop_20_cmyk.wmf"/>
  <p:tag name="VARPPTLOGOFOOTERSINGLELOGOFILENAME_IT" val="EECCoop_20_cmyk.wmf"/>
  <p:tag name="VARPPTLOGOFOOTERSINGLELOGOFILENAME_EN" val="EECCoop_20_cmyk.wmf"/>
  <p:tag name="VARPPTLANGSEL" val="EEC0"/>
  <p:tag name="VARPPTLANG" val="EECGerman"/>
  <p:tag name="OAWWIZARDSTEPS" val="0|1|4"/>
  <p:tag name="ZOAWLANGID" val="2055"/>
  <p:tag name="OAWDOCPROPSOURCE" val="&lt;DocProps&gt;&lt;DocProp UID=&quot;2002122011014149059130932&quot; EntryUID=&quot;2010062814203817393765&quot;&gt;&lt;Field Name=&quot;IDName&quot; Value=&quot;Interdiscount&quot;/&gt;&lt;Field Name=&quot;Firma&quot; Value=&quot;Interdiscount&quot;/&gt;&lt;Field Name=&quot;Genossenschaft&quot; Value=&quot;&quot;/&gt;&lt;Field Name=&quot;GenossenschaftszusatzLinie1&quot; Value=&quot;Division der&quot;/&gt;&lt;Field Name=&quot;GenossenschaftszusatzLinie2&quot; Value=&quot;Coop Genossenschaft&quot;/&gt;&lt;Field Name=&quot;GenossenschaftszusatzLinie3&quot; Value=&quot;&quot;/&gt;&lt;Field Name=&quot;LogoColor&quot; Value=&quot;%Logos%\Interdiscount.Logo.Color.2100.300.wmf&quot;/&gt;&lt;Field Name=&quot;LogoBlackWhite&quot; Value=&quot;%Logos%\Interdiscount.Logo.BW.2100.300.wmf&quot;/&gt;&lt;Field Name=&quot;Internet&quot; Value=&quot;www.interdiscount.ch&quot;/&gt;&lt;Field Name=&quot;MWST&quot; Value=&quot;CHE-116.311.185 MWST&quot;/&gt;&lt;Field Name=&quot;LogoBlackWhiteLandscape&quot; Value=&quot;%Logos%\Interdiscount.Logo.BW.2970.300.wmf&quot;/&gt;&lt;Field Name=&quot;LogoColorLandscape&quot; Value=&quot;%Logos%\Interdiscount.Logo.Color.2970.300.wmf&quot;/&gt;&lt;Field Name=&quot;LogoPowerPointTitleSlide&quot; Value=&quot;%Logos%\PowerPoint\Interdiscount_Titelfolie.wmf&quot;/&gt;&lt;Field Name=&quot;LogoPowerPointFooter&quot; Value=&quot;%Logos%\PowerPoint\Interdiscount_Fusszeile.wmf&quot;/&gt;&lt;Field Name=&quot;Disclaimer&quot; Value=&quot;Division der Coop&quot;/&gt;&lt;Field Name=&quot;Data_UID&quot; Value=&quot;2010062814203817393765&quot;/&gt;&lt;Field Name=&quot;Field_Name&quot; Value=&quot;GenossenschaftszusatzLinie1&quot;/&gt;&lt;Field Name=&quot;Field_UID&quot; Value=&quot;20030218192839312933770742&quot;/&gt;&lt;Field Name=&quot;ML_LCID&quot; Value=&quot;2055&quot;/&gt;&lt;Field Name=&quot;ML_Value&quot; Value=&quot;Division der&quot;/&gt;&lt;/DocProp&gt;&lt;DocProp UID=&quot;2010042615333021260265&quot; EntryUID=&quot;2004123010144120300001&quot;&gt;&lt;Field Name=&quot;IDName&quot; Value=&quot;(Benutzerdefiniert)&quot;/&gt;&lt;Field Name=&quot;Vorname&quot; Value=&quot;Constantin&quot;/&gt;&lt;Field Name=&quot;Name&quot; Value=&quot;Hilt&quot;/&gt;&lt;Field Name=&quot;NameKomplett&quot; Value=&quot;Hilt Constantin&quot;/&gt;&lt;Field Name=&quot;Direktion&quot; Value=&quot;&quot;/&gt;&lt;Field Name=&quot;Organisationsbereich&quot; Value=&quot;&quot;/&gt;&lt;Field Name=&quot;Organisationseinheit&quot; Value=&quot;&quot;/&gt;&lt;Field Name=&quot;Abteilung&quot; Value=&quot;Direktion ID&quot;/&gt;&lt;Field Name=&quot;RegionHauptsitz&quot; Value=&quot;&quot;/&gt;&lt;Field Name=&quot;UserID&quot; Value=&quot;HILCO&quot;/&gt;&lt;Field Name=&quot;Titel&quot; Value=&quot;&quot;/&gt;&lt;Field Name=&quot;ManagementTitel&quot; Value=&quot;&quot;/&gt;&lt;Field Name=&quot;Funktion&quot; Value=&quot;&quot;/&gt;&lt;Field Name=&quot;Adresse&quot; Value=&quot;Bernstrasse 90&quot;/&gt;&lt;Field Name=&quot;Adresszusatz&quot; Value=&quot;&quot;/&gt;&lt;Field Name=&quot;Postleitzahl&quot; Value=&quot;3303&quot;/&gt;&lt;Field Name=&quot;Ort&quot; Value=&quot;Jegenstorf&quot;/&gt;&lt;Field Name=&quot;Land&quot; Value=&quot;Schweiz&quot;/&gt;&lt;Field Name=&quot;Direktwahl&quot; Value=&quot;+41 31 764 44 27&quot;/&gt;&lt;Field Name=&quot;Fax&quot; Value=&quot;+41 31 764 42 20&quot;/&gt;&lt;Field Name=&quot;Mobile&quot; Value=&quot;+41 78 744 90 15&quot;/&gt;&lt;Field Name=&quot;Email&quot; Value=&quot;Constantin.Hilt@interdiscount.ch&quot;/&gt;&lt;Field Name=&quot;Unterschrift&quot; Value=&quot;&quot;/&gt;&lt;/DocProp&gt;&lt;DocProp UID=&quot;200212191811121321310321301031x&quot; EntryUID=&quot;2010100413110893148656&quot;&gt;&lt;Field Name=&quot;IDName&quot; Value=&quot;Wenger Pierre - WEPID&quot;/&gt;&lt;Field Name=&quot;Vorname&quot; Value=&quot;Pierre&quot;/&gt;&lt;Field Name=&quot;Name&quot; Value=&quot;Wenger&quot;/&gt;&lt;Field Name=&quot;NameKomplett&quot; Value=&quot;Wenger Pierre&quot;/&gt;&lt;Field Name=&quot;Direktion&quot; Value=&quot;D2 Trading&quot;/&gt;&lt;Field Name=&quot;Organisationsbereich&quot; Value=&quot;Interdiscount&quot;/&gt;&lt;Field Name=&quot;Organisationseinheit&quot; Value=&quot;&quot;/&gt;&lt;Field Name=&quot;Abteilung&quot; Value=&quot;Interdiscount&quot;/&gt;&lt;Field Name=&quot;RegionHauptsitz&quot; Value=&quot;Bern&quot;/&gt;&lt;Field Name=&quot;UserID&quot; Value=&quot;WEPID&quot;/&gt;&lt;Field Name=&quot;Titel&quot; Value=&quot;&quot;/&gt;&lt;Field Name=&quot;ManagementTitel&quot; Value=&quot;&quot;/&gt;&lt;Field Name=&quot;Funktion&quot; Value=&quot;Leiter Interdiscount&quot;/&gt;&lt;Field Name=&quot;Adresse&quot; Value=&quot;Bernstrasse 90&quot;/&gt;&lt;Field Name=&quot;Adresszusatz&quot; Value=&quot;&quot;/&gt;&lt;Field Name=&quot;Postleitzahl&quot; Value=&quot;3303&quot;/&gt;&lt;Field Name=&quot;Ort&quot; Value=&quot;Jegenstorf&quot;/&gt;&lt;Field Name=&quot;Land&quot; Value=&quot;Schweiz&quot;/&gt;&lt;Field Name=&quot;Fax&quot; Value=&quot;+41 31 764 44 74&quot;/&gt;&lt;Field Name=&quot;Mobile&quot; Value=&quot;+41 78 636 38 15&quot;/&gt;&lt;Field Name=&quot;Email&quot; Value=&quot;Pierre.Wenger@interdiscount.ch&quot;/&gt;&lt;Field Name=&quot;Unterschrift&quot; Value=&quot;&quot;/&gt;&lt;Field Name=&quot;Direktwahl&quot; Value=&quot;+41 31 764 44 84&quot;/&gt;&lt;Field Name=&quot;Data_UID&quot; Value=&quot;2010100413110893148656&quot;/&gt;&lt;Field Name=&quot;Field_Name&quot; Value=&quot;Funktion&quot;/&gt;&lt;Field Name=&quot;Field_UID&quot; Value=&quot;20030218193544317182370664&quot;/&gt;&lt;Field Name=&quot;ML_LCID&quot; Value=&quot;2055&quot;/&gt;&lt;Field Name=&quot;ML_Value&quot; Value=&quot;Leiter Interdiscount&quot;/&gt;&lt;/DocProp&gt;&lt;DocProp UID=&quot;2002122010583847234010578&quot; EntryUID=&quot;2003121817293296325874&quot;&gt;&lt;Field Name=&quot;IDName&quot; Value=&quot;(Leer)&quot;/&gt;&lt;/DocProp&gt;&lt;DocProp UID=&quot;2003061115381095709037&quot; EntryUID=&quot;2003121817293296325874&quot;&gt;&lt;Field Name=&quot;IDName&quot; Value=&quot;(Leer)&quot;/&gt;&lt;/DocProp&gt;&lt;DocProp UID=&quot;2004112217333376588294&quot; EntryUID=&quot;2004123010144120300001&quot;&gt;&lt;Field UID=&quot;2010071616313160024822&quot; Name=&quot;PPLocationDate&quot; Value=&quot;Jegenstorf, 15.02.2013&quot;/&gt;&lt;Field UID=&quot;2010071616313204790203&quot; Name=&quot;PPFooter&quot; Value=&quot;Best Practice Amazom.com&quot;/&gt;&lt;/DocProp&gt;&lt;/DocProps&gt;&#10;"/>
  <p:tag name="EE4P_STYLE_ID" val="6cd991bf-f022-4378-96e7-2c338aeb3f5a"/>
  <p:tag name="THINKCELLUNDODONOTDELETE" val="0"/>
</p:tagLst>
</file>

<file path=ppt/theme/theme1.xml><?xml version="1.0" encoding="utf-8"?>
<a:theme xmlns:a="http://schemas.openxmlformats.org/drawingml/2006/main" name="blank">
  <a:themeElements>
    <a:clrScheme name="Benutzerdefiniert 3">
      <a:dk1>
        <a:srgbClr val="000000"/>
      </a:dk1>
      <a:lt1>
        <a:srgbClr val="FFFFFF"/>
      </a:lt1>
      <a:dk2>
        <a:srgbClr val="FF9914"/>
      </a:dk2>
      <a:lt2>
        <a:srgbClr val="CCCCCC"/>
      </a:lt2>
      <a:accent1>
        <a:srgbClr val="E30613"/>
      </a:accent1>
      <a:accent2>
        <a:srgbClr val="6BC5D3"/>
      </a:accent2>
      <a:accent3>
        <a:srgbClr val="F8F5C7"/>
      </a:accent3>
      <a:accent4>
        <a:srgbClr val="C77BA1"/>
      </a:accent4>
      <a:accent5>
        <a:srgbClr val="BFD9A4"/>
      </a:accent5>
      <a:accent6>
        <a:srgbClr val="E7E733"/>
      </a:accent6>
      <a:hlink>
        <a:srgbClr val="3999CC"/>
      </a:hlink>
      <a:folHlink>
        <a:srgbClr val="99CC3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CH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CH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F9914"/>
        </a:dk2>
        <a:lt2>
          <a:srgbClr val="CCCCCC"/>
        </a:lt2>
        <a:accent1>
          <a:srgbClr val="FF6600"/>
        </a:accent1>
        <a:accent2>
          <a:srgbClr val="FFFF39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E733"/>
        </a:accent6>
        <a:hlink>
          <a:srgbClr val="3999CC"/>
        </a:hlink>
        <a:folHlink>
          <a:srgbClr val="99CC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orlage_ID_MSP_150dpi.pptx [Schreibgeschützt]" id="{9BFDBD7C-70D1-436D-B66B-01756053AB79}" vid="{E318149A-2ABE-4E7E-B55A-C98414338C4D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haredContentType xmlns="Microsoft.SharePoint.Taxonomy.ContentTypeSync" SourceId="eda88417-3483-4fed-b058-94d1cbc00fd7" ContentTypeId="0x010100E3341E2C5D6F48729CD5E623A8CCB51F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ojectdocument" ma:contentTypeID="0x010100E3341E2C5D6F48729CD5E623A8CCB51F00F1BB8487EA1A7544BE7145475AE69C74" ma:contentTypeVersion="4" ma:contentTypeDescription="Ein neues Dokument erstellen." ma:contentTypeScope="" ma:versionID="fdaa09da14ec18bc26c2ac349769de6b">
  <xsd:schema xmlns:xsd="http://www.w3.org/2001/XMLSchema" xmlns:xs="http://www.w3.org/2001/XMLSchema" xmlns:p="http://schemas.microsoft.com/office/2006/metadata/properties" xmlns:ns2="3a920184-c7cb-422b-bd8a-f581432dcdf0" xmlns:ns3="52a7626c-403e-49b7-9f3c-d19d1931ad83" targetNamespace="http://schemas.microsoft.com/office/2006/metadata/properties" ma:root="true" ma:fieldsID="84c1203ba7833fcec9f4c7b72cb018fc" ns2:_="" ns3:_="">
    <xsd:import namespace="3a920184-c7cb-422b-bd8a-f581432dcdf0"/>
    <xsd:import namespace="52a7626c-403e-49b7-9f3c-d19d1931ad83"/>
    <xsd:element name="properties">
      <xsd:complexType>
        <xsd:sequence>
          <xsd:element name="documentManagement">
            <xsd:complexType>
              <xsd:all>
                <xsd:element ref="ns2:Dokumentart_0" minOccurs="0"/>
                <xsd:element ref="ns2:TaxCatchAll" minOccurs="0"/>
                <xsd:element ref="ns2:TaxCatchAllLabel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20184-c7cb-422b-bd8a-f581432dcdf0" elementFormDefault="qualified">
    <xsd:import namespace="http://schemas.microsoft.com/office/2006/documentManagement/types"/>
    <xsd:import namespace="http://schemas.microsoft.com/office/infopath/2007/PartnerControls"/>
    <xsd:element name="Dokumentart_0" ma:index="8" nillable="true" ma:taxonomy="true" ma:internalName="Dokumentart_0" ma:taxonomyFieldName="Dokumentart" ma:displayName="Dokumentart" ma:fieldId="{e2165c43-35bf-4935-8116-c7c19c262bd0}" ma:sspId="eda88417-3483-4fed-b058-94d1cbc00fd7" ma:termSetId="a3909c1e-0e73-4ef8-9a02-f2db08b1af7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fc057341-8356-46e6-9280-959d205e551a}" ma:internalName="TaxCatchAll" ma:showField="CatchAllData" ma:web="52a7626c-403e-49b7-9f3c-d19d1931ad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fc057341-8356-46e6-9280-959d205e551a}" ma:internalName="TaxCatchAllLabel" ma:readOnly="true" ma:showField="CatchAllDataLabel" ma:web="52a7626c-403e-49b7-9f3c-d19d1931ad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a7626c-403e-49b7-9f3c-d19d1931ad83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LongProperties xmlns="http://schemas.microsoft.com/office/2006/metadata/longProperties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2a7626c-403e-49b7-9f3c-d19d1931ad83">COOP029013-670072079-829</_dlc_DocId>
    <_dlc_DocIdUrl xmlns="52a7626c-403e-49b7-9f3c-d19d1931ad83">
      <Url>https://sharepoint.coop.ch/sites/85866cd6c8104d71ac6cebae5a07830d/d2c639d734914aaf930835c4ed7b8c65/_layouts/15/DocIdRedir.aspx?ID=COOP029013-670072079-829</Url>
      <Description>COOP029013-670072079-829</Description>
    </_dlc_DocIdUrl>
    <TaxCatchAll xmlns="3a920184-c7cb-422b-bd8a-f581432dcdf0"/>
    <Dokumentart_0 xmlns="3a920184-c7cb-422b-bd8a-f581432dcdf0">
      <Terms xmlns="http://schemas.microsoft.com/office/infopath/2007/PartnerControls"/>
    </Dokumentart_0>
  </documentManagement>
</p:properties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7D5E2B-B2C9-421C-9CF7-AFE2D406B21C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37428FCE-F9ED-48FC-B785-44F792A057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920184-c7cb-422b-bd8a-f581432dcdf0"/>
    <ds:schemaRef ds:uri="52a7626c-403e-49b7-9f3c-d19d1931ad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041100-3350-47EC-A180-D71EA3BFF7C5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E26AD39D-AD0F-4596-B8D6-61A6D41C38C0}">
  <ds:schemaRefs>
    <ds:schemaRef ds:uri="http://schemas.microsoft.com/office/2006/metadata/longProperties"/>
  </ds:schemaRefs>
</ds:datastoreItem>
</file>

<file path=customXml/itemProps5.xml><?xml version="1.0" encoding="utf-8"?>
<ds:datastoreItem xmlns:ds="http://schemas.openxmlformats.org/officeDocument/2006/customXml" ds:itemID="{02205B8E-30C3-457A-9472-2AF101AF9FF2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3a920184-c7cb-422b-bd8a-f581432dcdf0"/>
    <ds:schemaRef ds:uri="52a7626c-403e-49b7-9f3c-d19d1931ad83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6.xml><?xml version="1.0" encoding="utf-8"?>
<ds:datastoreItem xmlns:ds="http://schemas.openxmlformats.org/officeDocument/2006/customXml" ds:itemID="{4B677863-61FC-41F5-9B50-556D91A55B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9</Words>
  <Application>Microsoft Macintosh PowerPoint</Application>
  <PresentationFormat>Breitbild</PresentationFormat>
  <Paragraphs>46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2" baseType="lpstr">
      <vt:lpstr>Arial</vt:lpstr>
      <vt:lpstr>blank</vt:lpstr>
      <vt:lpstr>ITIL Change Prozess</vt:lpstr>
      <vt:lpstr>Inhaltsverzeichnis</vt:lpstr>
      <vt:lpstr>Change Prozess</vt:lpstr>
      <vt:lpstr>Phasen des Change Prozesses</vt:lpstr>
      <vt:lpstr>Mindmap</vt:lpstr>
      <vt:lpstr>Major Incident Prozess</vt:lpstr>
      <vt:lpstr>Prioritätsskala</vt:lpstr>
      <vt:lpstr>Idealer Prozess</vt:lpstr>
      <vt:lpstr>Vergleich</vt:lpstr>
      <vt:lpstr>Vielen Dank für eu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IL Change Prozess</dc:title>
  <dc:creator>Gomes Batista Laura</dc:creator>
  <cp:lastModifiedBy>Gomes Batista Laura</cp:lastModifiedBy>
  <cp:revision>8</cp:revision>
  <cp:lastPrinted>2016-05-31T16:33:43Z</cp:lastPrinted>
  <dcterms:created xsi:type="dcterms:W3CDTF">2020-12-07T08:00:10Z</dcterms:created>
  <dcterms:modified xsi:type="dcterms:W3CDTF">2020-12-07T12:40:3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341E2C5D6F48729CD5E623A8CCB51F00F1BB8487EA1A7544BE7145475AE69C74</vt:lpwstr>
  </property>
  <property fmtid="{D5CDD505-2E9C-101B-9397-08002B2CF9AE}" pid="3" name="ContentType">
    <vt:lpwstr>Powerpoint</vt:lpwstr>
  </property>
  <property fmtid="{D5CDD505-2E9C-101B-9397-08002B2CF9AE}" pid="4" name="DocumentID">
    <vt:lpwstr/>
  </property>
  <property fmtid="{D5CDD505-2E9C-101B-9397-08002B2CF9AE}" pid="5" name="_dlc_DocId">
    <vt:lpwstr>COOP003188-13-738</vt:lpwstr>
  </property>
  <property fmtid="{D5CDD505-2E9C-101B-9397-08002B2CF9AE}" pid="6" name="_dlc_DocIdItemGuid">
    <vt:lpwstr>e26c6852-a2b0-47fb-aaa1-08de416a588a</vt:lpwstr>
  </property>
  <property fmtid="{D5CDD505-2E9C-101B-9397-08002B2CF9AE}" pid="7" name="_dlc_DocIdUrl">
    <vt:lpwstr>https://sharepoint.coop.ch/sites/c24afb2f69e74fcf98706b0ba13d9d7a/7ccbcf7c4d4843c4a58d71acaaec1606/_layouts/15/DocIdRedir.aspx?ID=COOP003188-13-738, COOP003188-13-738</vt:lpwstr>
  </property>
  <property fmtid="{D5CDD505-2E9C-101B-9397-08002B2CF9AE}" pid="8" name="Dokumentart">
    <vt:lpwstr/>
  </property>
</Properties>
</file>